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CAF87-1B85-431A-2751-C78E2E7FD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D4FCBF74-B843-D777-5A1F-A8B6E8CFF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CBF74-B843-D777-5A1F-A8B6E8CFF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34E90C-4AB3-EBBF-2226-8333CB80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996E7C-3552-B29E-C085-AF9D5DFA7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2A7AD3-8245-4DEA-D4C4-F5CBEF8CEEAD}"/>
              </a:ext>
            </a:extLst>
          </p:cNvPr>
          <p:cNvGrpSpPr/>
          <p:nvPr/>
        </p:nvGrpSpPr>
        <p:grpSpPr>
          <a:xfrm>
            <a:off x="419099" y="1128813"/>
            <a:ext cx="3086101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38AB81C-89F1-10DD-0900-95494F311577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2761E65-4208-7826-8BE2-B5C2B9E98D93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1FE89FE-6490-61A2-559F-151B431B394F}"/>
              </a:ext>
            </a:extLst>
          </p:cNvPr>
          <p:cNvGrpSpPr/>
          <p:nvPr/>
        </p:nvGrpSpPr>
        <p:grpSpPr>
          <a:xfrm>
            <a:off x="4461440" y="1128813"/>
            <a:ext cx="3086101" cy="623537"/>
            <a:chOff x="5138982" y="3547585"/>
            <a:chExt cx="2638320" cy="62353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F4EB377-3629-F405-8342-60F6E168CFDC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731150-7024-3969-E19E-2081A969435E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EC662E-53BB-6714-CE24-751A31AB1C4A}"/>
              </a:ext>
            </a:extLst>
          </p:cNvPr>
          <p:cNvGrpSpPr/>
          <p:nvPr/>
        </p:nvGrpSpPr>
        <p:grpSpPr>
          <a:xfrm>
            <a:off x="8503780" y="1128813"/>
            <a:ext cx="3086101" cy="623537"/>
            <a:chOff x="5138982" y="3547585"/>
            <a:chExt cx="2638320" cy="62353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2B41731-C1F7-49F4-2F38-9B6112B0910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2F0F0A0-3DD4-6961-2EEF-8673FF1AF239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778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8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olum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3</cp:revision>
  <dcterms:created xsi:type="dcterms:W3CDTF">2021-03-31T02:49:57Z</dcterms:created>
  <dcterms:modified xsi:type="dcterms:W3CDTF">2025-10-15T02:48:30Z</dcterms:modified>
  <cp:category/>
</cp:coreProperties>
</file>